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notesMasterIdLst>
    <p:notesMasterId r:id="rId3"/>
  </p:notesMasterIdLst>
  <p:sldIdLst>
    <p:sldId id="257" r:id="rId2"/>
  </p:sldIdLst>
  <p:sldSz cx="7556500" cy="10693400"/>
  <p:notesSz cx="6858000" cy="9144000"/>
  <p:embeddedFontLst>
    <p:embeddedFont>
      <p:font typeface="Cabin" pitchFamily="2" charset="0"/>
      <p:regular r:id="rId4"/>
      <p:bold r:id="rId5"/>
      <p:italic r:id="rId6"/>
      <p:boldItalic r:id="rId7"/>
    </p:embeddedFont>
    <p:embeddedFont>
      <p:font typeface="Calibri" panose="020F0502020204030204" pitchFamily="34" charset="0"/>
      <p:regular r:id="rId8"/>
      <p:bold r:id="rId9"/>
      <p:italic r:id="rId10"/>
      <p:boldItalic r:id="rId11"/>
    </p:embeddedFont>
    <p:embeddedFont>
      <p:font typeface="Montserrat" pitchFamily="2" charset="0"/>
      <p:regular r:id="rId12"/>
      <p:bold r:id="rId13"/>
      <p:italic r:id="rId14"/>
      <p:boldItalic r:id="rId15"/>
    </p:embeddedFont>
    <p:embeddedFont>
      <p:font typeface="Montserrat Black" pitchFamily="2" charset="0"/>
      <p:bold r:id="rId16"/>
      <p:boldItalic r:id="rId17"/>
    </p:embeddedFont>
    <p:embeddedFont>
      <p:font typeface="Montserrat SemiBold" pitchFamily="2" charset="0"/>
      <p:bold r:id="rId18"/>
      <p:boldItalic r:id="rId19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userDrawn="1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 autoAdjust="0"/>
    <p:restoredTop sz="94622" autoAdjust="0"/>
  </p:normalViewPr>
  <p:slideViewPr>
    <p:cSldViewPr>
      <p:cViewPr varScale="1">
        <p:scale>
          <a:sx n="68" d="100"/>
          <a:sy n="68" d="100"/>
        </p:scale>
        <p:origin x="750" y="90"/>
      </p:cViewPr>
      <p:guideLst>
        <p:guide orient="horz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5.fntdata"/><Relationship Id="rId13" Type="http://schemas.openxmlformats.org/officeDocument/2006/relationships/font" Target="fonts/font10.fntdata"/><Relationship Id="rId18" Type="http://schemas.openxmlformats.org/officeDocument/2006/relationships/font" Target="fonts/font15.fntdata"/><Relationship Id="rId3" Type="http://schemas.openxmlformats.org/officeDocument/2006/relationships/notesMaster" Target="notesMasters/notesMaster1.xml"/><Relationship Id="rId21" Type="http://schemas.openxmlformats.org/officeDocument/2006/relationships/viewProps" Target="viewProps.xml"/><Relationship Id="rId7" Type="http://schemas.openxmlformats.org/officeDocument/2006/relationships/font" Target="fonts/font4.fntdata"/><Relationship Id="rId12" Type="http://schemas.openxmlformats.org/officeDocument/2006/relationships/font" Target="fonts/font9.fntdata"/><Relationship Id="rId17" Type="http://schemas.openxmlformats.org/officeDocument/2006/relationships/font" Target="fonts/font14.fntdata"/><Relationship Id="rId2" Type="http://schemas.openxmlformats.org/officeDocument/2006/relationships/slide" Target="slides/slide1.xml"/><Relationship Id="rId16" Type="http://schemas.openxmlformats.org/officeDocument/2006/relationships/font" Target="fonts/font13.fntdata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3.fntdata"/><Relationship Id="rId11" Type="http://schemas.openxmlformats.org/officeDocument/2006/relationships/font" Target="fonts/font8.fntdata"/><Relationship Id="rId5" Type="http://schemas.openxmlformats.org/officeDocument/2006/relationships/font" Target="fonts/font2.fntdata"/><Relationship Id="rId15" Type="http://schemas.openxmlformats.org/officeDocument/2006/relationships/font" Target="fonts/font12.fntdata"/><Relationship Id="rId23" Type="http://schemas.openxmlformats.org/officeDocument/2006/relationships/tableStyles" Target="tableStyles.xml"/><Relationship Id="rId10" Type="http://schemas.openxmlformats.org/officeDocument/2006/relationships/font" Target="fonts/font7.fntdata"/><Relationship Id="rId19" Type="http://schemas.openxmlformats.org/officeDocument/2006/relationships/font" Target="fonts/font16.fntdata"/><Relationship Id="rId4" Type="http://schemas.openxmlformats.org/officeDocument/2006/relationships/font" Target="fonts/font1.fntdata"/><Relationship Id="rId9" Type="http://schemas.openxmlformats.org/officeDocument/2006/relationships/font" Target="fonts/font6.fntdata"/><Relationship Id="rId14" Type="http://schemas.openxmlformats.org/officeDocument/2006/relationships/font" Target="fonts/font11.fntdata"/><Relationship Id="rId22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47A648B-C08E-4B33-967C-D616C775D0CC}" type="datetimeFigureOut">
              <a:rPr lang="en-US" smtClean="0"/>
              <a:t>12/1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338388" y="1143000"/>
            <a:ext cx="21812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3CF94B5-C966-4D9C-802C-3BB0C774D93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71701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3CF94B5-C966-4D9C-802C-3BB0C774D933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99315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1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1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1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1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1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1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1/202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1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1/2023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1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1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12/1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13" Type="http://schemas.openxmlformats.org/officeDocument/2006/relationships/image" Target="../media/image10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4.svg"/><Relationship Id="rId12" Type="http://schemas.openxmlformats.org/officeDocument/2006/relationships/image" Target="../media/image9.svg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13.svg"/><Relationship Id="rId1" Type="http://schemas.openxmlformats.org/officeDocument/2006/relationships/tags" Target="../tags/tag1.xml"/><Relationship Id="rId6" Type="http://schemas.openxmlformats.org/officeDocument/2006/relationships/image" Target="../media/image3.png"/><Relationship Id="rId11" Type="http://schemas.openxmlformats.org/officeDocument/2006/relationships/image" Target="../media/image8.png"/><Relationship Id="rId5" Type="http://schemas.openxmlformats.org/officeDocument/2006/relationships/image" Target="../media/image2.svg"/><Relationship Id="rId15" Type="http://schemas.openxmlformats.org/officeDocument/2006/relationships/image" Target="../media/image12.png"/><Relationship Id="rId10" Type="http://schemas.openxmlformats.org/officeDocument/2006/relationships/image" Target="../media/image7.jpeg"/><Relationship Id="rId4" Type="http://schemas.openxmlformats.org/officeDocument/2006/relationships/image" Target="../media/image1.png"/><Relationship Id="rId9" Type="http://schemas.openxmlformats.org/officeDocument/2006/relationships/image" Target="../media/image6.svg"/><Relationship Id="rId14" Type="http://schemas.openxmlformats.org/officeDocument/2006/relationships/image" Target="../media/image11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803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2" name="Group 1">
            <a:extLst>
              <a:ext uri="{FF2B5EF4-FFF2-40B4-BE49-F238E27FC236}">
                <a16:creationId xmlns:a16="http://schemas.microsoft.com/office/drawing/2014/main" id="{37956168-3428-A789-4E3A-05732C243DAD}"/>
              </a:ext>
            </a:extLst>
          </p:cNvPr>
          <p:cNvGrpSpPr/>
          <p:nvPr/>
        </p:nvGrpSpPr>
        <p:grpSpPr>
          <a:xfrm>
            <a:off x="-17776" y="4698"/>
            <a:ext cx="7602007" cy="10687302"/>
            <a:chOff x="-17776" y="4698"/>
            <a:chExt cx="7602007" cy="10687302"/>
          </a:xfrm>
        </p:grpSpPr>
        <p:sp>
          <p:nvSpPr>
            <p:cNvPr id="10" name="Freeform 10"/>
            <p:cNvSpPr/>
            <p:nvPr/>
          </p:nvSpPr>
          <p:spPr>
            <a:xfrm>
              <a:off x="0" y="10297950"/>
              <a:ext cx="7560000" cy="394050"/>
            </a:xfrm>
            <a:custGeom>
              <a:avLst/>
              <a:gdLst/>
              <a:ahLst/>
              <a:cxnLst/>
              <a:rect l="l" t="t" r="r" b="b"/>
              <a:pathLst>
                <a:path w="2709333" h="141219">
                  <a:moveTo>
                    <a:pt x="0" y="0"/>
                  </a:moveTo>
                  <a:lnTo>
                    <a:pt x="2709333" y="0"/>
                  </a:lnTo>
                  <a:lnTo>
                    <a:pt x="2709333" y="141219"/>
                  </a:lnTo>
                  <a:lnTo>
                    <a:pt x="0" y="141219"/>
                  </a:lnTo>
                  <a:close/>
                </a:path>
              </a:pathLst>
            </a:custGeom>
            <a:solidFill>
              <a:srgbClr val="FFDE59"/>
            </a:solidFill>
          </p:spPr>
          <p:txBody>
            <a:bodyPr/>
            <a:lstStyle/>
            <a:p>
              <a:endParaRPr lang="en-US" dirty="0"/>
            </a:p>
          </p:txBody>
        </p: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EFCC592C-7B80-5835-6D57-A580061FB695}"/>
                </a:ext>
              </a:extLst>
            </p:cNvPr>
            <p:cNvGrpSpPr/>
            <p:nvPr/>
          </p:nvGrpSpPr>
          <p:grpSpPr>
            <a:xfrm>
              <a:off x="0" y="8213226"/>
              <a:ext cx="6804001" cy="1585485"/>
              <a:chOff x="0" y="8213226"/>
              <a:chExt cx="6804001" cy="1585485"/>
            </a:xfrm>
          </p:grpSpPr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1A3F88B9-0533-AC73-285B-3EA238B491A0}"/>
                  </a:ext>
                </a:extLst>
              </p:cNvPr>
              <p:cNvSpPr/>
              <p:nvPr/>
            </p:nvSpPr>
            <p:spPr>
              <a:xfrm>
                <a:off x="0" y="8213226"/>
                <a:ext cx="3414234" cy="607771"/>
              </a:xfrm>
              <a:custGeom>
                <a:avLst/>
                <a:gdLst>
                  <a:gd name="connsiteX0" fmla="*/ 0 w 3414234"/>
                  <a:gd name="connsiteY0" fmla="*/ 0 h 607771"/>
                  <a:gd name="connsiteX1" fmla="*/ 3110348 w 3414234"/>
                  <a:gd name="connsiteY1" fmla="*/ 0 h 607771"/>
                  <a:gd name="connsiteX2" fmla="*/ 3414234 w 3414234"/>
                  <a:gd name="connsiteY2" fmla="*/ 303886 h 607771"/>
                  <a:gd name="connsiteX3" fmla="*/ 3110348 w 3414234"/>
                  <a:gd name="connsiteY3" fmla="*/ 607771 h 607771"/>
                  <a:gd name="connsiteX4" fmla="*/ 0 w 3414234"/>
                  <a:gd name="connsiteY4" fmla="*/ 607771 h 6077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14234" h="607771">
                    <a:moveTo>
                      <a:pt x="0" y="0"/>
                    </a:moveTo>
                    <a:lnTo>
                      <a:pt x="3110348" y="0"/>
                    </a:lnTo>
                    <a:cubicBezTo>
                      <a:pt x="3278180" y="0"/>
                      <a:pt x="3414234" y="136055"/>
                      <a:pt x="3414234" y="303886"/>
                    </a:cubicBezTo>
                    <a:cubicBezTo>
                      <a:pt x="3414234" y="471716"/>
                      <a:pt x="3278180" y="607771"/>
                      <a:pt x="3110348" y="607771"/>
                    </a:cubicBezTo>
                    <a:lnTo>
                      <a:pt x="0" y="607771"/>
                    </a:lnTo>
                    <a:close/>
                  </a:path>
                </a:pathLst>
              </a:custGeom>
              <a:solidFill>
                <a:srgbClr val="FFDE59"/>
              </a:solidFill>
            </p:spPr>
            <p:txBody>
              <a:bodyPr wrap="square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23" name="TextBox 23"/>
              <p:cNvSpPr txBox="1"/>
              <p:nvPr/>
            </p:nvSpPr>
            <p:spPr>
              <a:xfrm>
                <a:off x="756000" y="8302781"/>
                <a:ext cx="2206274" cy="42866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3518"/>
                  </a:lnSpc>
                  <a:spcBef>
                    <a:spcPct val="0"/>
                  </a:spcBef>
                </a:pPr>
                <a:r>
                  <a:rPr lang="en-US" sz="2500" b="1" dirty="0">
                    <a:solidFill>
                      <a:srgbClr val="008037"/>
                    </a:solidFill>
                    <a:latin typeface="Montserrat" pitchFamily="2" charset="0"/>
                  </a:rPr>
                  <a:t>BOOK NOW</a:t>
                </a:r>
              </a:p>
            </p:txBody>
          </p:sp>
          <p:grpSp>
            <p:nvGrpSpPr>
              <p:cNvPr id="49" name="Group 48">
                <a:extLst>
                  <a:ext uri="{FF2B5EF4-FFF2-40B4-BE49-F238E27FC236}">
                    <a16:creationId xmlns:a16="http://schemas.microsoft.com/office/drawing/2014/main" id="{2A58A1E1-FC0D-8332-96B7-FB8255FC73B9}"/>
                  </a:ext>
                </a:extLst>
              </p:cNvPr>
              <p:cNvGrpSpPr/>
              <p:nvPr/>
            </p:nvGrpSpPr>
            <p:grpSpPr>
              <a:xfrm>
                <a:off x="756000" y="9228111"/>
                <a:ext cx="2995403" cy="570600"/>
                <a:chOff x="756000" y="9228111"/>
                <a:chExt cx="2995403" cy="570600"/>
              </a:xfrm>
            </p:grpSpPr>
            <p:grpSp>
              <p:nvGrpSpPr>
                <p:cNvPr id="48" name="Group 47">
                  <a:extLst>
                    <a:ext uri="{FF2B5EF4-FFF2-40B4-BE49-F238E27FC236}">
                      <a16:creationId xmlns:a16="http://schemas.microsoft.com/office/drawing/2014/main" id="{FE74215B-FB1A-6F3E-E0CC-370F77A0723E}"/>
                    </a:ext>
                  </a:extLst>
                </p:cNvPr>
                <p:cNvGrpSpPr/>
                <p:nvPr/>
              </p:nvGrpSpPr>
              <p:grpSpPr>
                <a:xfrm>
                  <a:off x="1466449" y="9258284"/>
                  <a:ext cx="2284954" cy="510252"/>
                  <a:chOff x="1466449" y="9253149"/>
                  <a:chExt cx="2284954" cy="510252"/>
                </a:xfrm>
              </p:grpSpPr>
              <p:sp>
                <p:nvSpPr>
                  <p:cNvPr id="19" name="TextBox 19"/>
                  <p:cNvSpPr txBox="1"/>
                  <p:nvPr/>
                </p:nvSpPr>
                <p:spPr>
                  <a:xfrm>
                    <a:off x="1466449" y="9441456"/>
                    <a:ext cx="2284954" cy="321945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>
                      <a:lnSpc>
                        <a:spcPts val="2640"/>
                      </a:lnSpc>
                    </a:pPr>
                    <a:r>
                      <a:rPr lang="en-US" sz="2000" b="1" dirty="0">
                        <a:solidFill>
                          <a:srgbClr val="FAD02C"/>
                        </a:solidFill>
                        <a:latin typeface="Montserrat" pitchFamily="2" charset="0"/>
                      </a:rPr>
                      <a:t>123-456-7890</a:t>
                    </a:r>
                  </a:p>
                </p:txBody>
              </p:sp>
              <p:sp>
                <p:nvSpPr>
                  <p:cNvPr id="20" name="TextBox 20"/>
                  <p:cNvSpPr txBox="1"/>
                  <p:nvPr/>
                </p:nvSpPr>
                <p:spPr>
                  <a:xfrm>
                    <a:off x="1466449" y="9253149"/>
                    <a:ext cx="1227014" cy="191225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>
                      <a:lnSpc>
                        <a:spcPts val="1584"/>
                      </a:lnSpc>
                    </a:pPr>
                    <a:r>
                      <a:rPr lang="en-US" sz="1200" dirty="0">
                        <a:solidFill>
                          <a:srgbClr val="FFFFFF"/>
                        </a:solidFill>
                        <a:latin typeface="Montserrat"/>
                      </a:rPr>
                      <a:t>Contact Us</a:t>
                    </a:r>
                  </a:p>
                </p:txBody>
              </p:sp>
            </p:grpSp>
            <p:sp>
              <p:nvSpPr>
                <p:cNvPr id="43" name="Freeform 43"/>
                <p:cNvSpPr/>
                <p:nvPr/>
              </p:nvSpPr>
              <p:spPr>
                <a:xfrm>
                  <a:off x="756000" y="9228111"/>
                  <a:ext cx="570600" cy="5706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70600" h="570600">
                      <a:moveTo>
                        <a:pt x="0" y="0"/>
                      </a:moveTo>
                      <a:lnTo>
                        <a:pt x="570600" y="0"/>
                      </a:lnTo>
                      <a:lnTo>
                        <a:pt x="570600" y="570600"/>
                      </a:lnTo>
                      <a:lnTo>
                        <a:pt x="0" y="57060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blipFill>
                  <a:blip r:embed="rId4">
                    <a:extLst>
                      <a:ext uri="{96DAC541-7B7A-43D3-8B79-37D633B846F1}">
                        <asvg:svgBlip xmlns:asvg="http://schemas.microsoft.com/office/drawing/2016/SVG/main" r:embed="rId5"/>
                      </a:ext>
                    </a:extLst>
                  </a:blip>
                  <a:stretch>
                    <a:fillRect/>
                  </a:stretch>
                </a:blipFill>
              </p:spPr>
              <p:txBody>
                <a:bodyPr/>
                <a:lstStyle/>
                <a:p>
                  <a:endParaRPr lang="en-US" dirty="0"/>
                </a:p>
              </p:txBody>
            </p:sp>
          </p:grpSp>
          <p:grpSp>
            <p:nvGrpSpPr>
              <p:cNvPr id="51" name="Group 50">
                <a:extLst>
                  <a:ext uri="{FF2B5EF4-FFF2-40B4-BE49-F238E27FC236}">
                    <a16:creationId xmlns:a16="http://schemas.microsoft.com/office/drawing/2014/main" id="{6EAC2F83-3C04-3704-F928-E0C57056C7F0}"/>
                  </a:ext>
                </a:extLst>
              </p:cNvPr>
              <p:cNvGrpSpPr/>
              <p:nvPr/>
            </p:nvGrpSpPr>
            <p:grpSpPr>
              <a:xfrm>
                <a:off x="4433214" y="9156700"/>
                <a:ext cx="2370787" cy="584023"/>
                <a:chOff x="4433214" y="9113948"/>
                <a:chExt cx="2370787" cy="584023"/>
              </a:xfrm>
            </p:grpSpPr>
            <p:grpSp>
              <p:nvGrpSpPr>
                <p:cNvPr id="50" name="Group 49">
                  <a:extLst>
                    <a:ext uri="{FF2B5EF4-FFF2-40B4-BE49-F238E27FC236}">
                      <a16:creationId xmlns:a16="http://schemas.microsoft.com/office/drawing/2014/main" id="{CC46F884-2644-020E-0E71-7D0BE029C211}"/>
                    </a:ext>
                  </a:extLst>
                </p:cNvPr>
                <p:cNvGrpSpPr/>
                <p:nvPr/>
              </p:nvGrpSpPr>
              <p:grpSpPr>
                <a:xfrm>
                  <a:off x="4433214" y="9348471"/>
                  <a:ext cx="2370786" cy="349500"/>
                  <a:chOff x="4433214" y="9348471"/>
                  <a:chExt cx="2370786" cy="349500"/>
                </a:xfrm>
              </p:grpSpPr>
              <p:sp>
                <p:nvSpPr>
                  <p:cNvPr id="21" name="TextBox 21"/>
                  <p:cNvSpPr txBox="1"/>
                  <p:nvPr/>
                </p:nvSpPr>
                <p:spPr>
                  <a:xfrm>
                    <a:off x="4433214" y="9496441"/>
                    <a:ext cx="2370786" cy="201530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algn="r">
                      <a:lnSpc>
                        <a:spcPts val="1679"/>
                      </a:lnSpc>
                      <a:spcBef>
                        <a:spcPct val="0"/>
                      </a:spcBef>
                    </a:pPr>
                    <a:r>
                      <a:rPr lang="en-US" sz="1200" b="1" dirty="0">
                        <a:solidFill>
                          <a:srgbClr val="FFFFFF"/>
                        </a:solidFill>
                        <a:latin typeface="Montserrat" pitchFamily="2" charset="0"/>
                      </a:rPr>
                      <a:t>www.templateLAB.com</a:t>
                    </a:r>
                  </a:p>
                </p:txBody>
              </p:sp>
              <p:sp>
                <p:nvSpPr>
                  <p:cNvPr id="22" name="TextBox 22"/>
                  <p:cNvSpPr txBox="1"/>
                  <p:nvPr/>
                </p:nvSpPr>
                <p:spPr>
                  <a:xfrm>
                    <a:off x="5343607" y="9348471"/>
                    <a:ext cx="1460393" cy="164988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algn="r">
                      <a:lnSpc>
                        <a:spcPts val="1399"/>
                      </a:lnSpc>
                      <a:spcBef>
                        <a:spcPct val="0"/>
                      </a:spcBef>
                    </a:pPr>
                    <a:r>
                      <a:rPr lang="en-US" sz="999" dirty="0">
                        <a:solidFill>
                          <a:srgbClr val="FFFFFF"/>
                        </a:solidFill>
                        <a:latin typeface="Montserrat"/>
                      </a:rPr>
                      <a:t>Visit Our Website</a:t>
                    </a:r>
                  </a:p>
                </p:txBody>
              </p:sp>
            </p:grpSp>
            <p:sp>
              <p:nvSpPr>
                <p:cNvPr id="24" name="Freeform: Shape 23">
                  <a:extLst>
                    <a:ext uri="{FF2B5EF4-FFF2-40B4-BE49-F238E27FC236}">
                      <a16:creationId xmlns:a16="http://schemas.microsoft.com/office/drawing/2014/main" id="{68806E16-FCA4-CACF-AF6D-4E35550AEDDD}"/>
                    </a:ext>
                  </a:extLst>
                </p:cNvPr>
                <p:cNvSpPr/>
                <p:nvPr/>
              </p:nvSpPr>
              <p:spPr>
                <a:xfrm>
                  <a:off x="6319464" y="9113948"/>
                  <a:ext cx="484537" cy="114163"/>
                </a:xfrm>
                <a:custGeom>
                  <a:avLst/>
                  <a:gdLst>
                    <a:gd name="connsiteX0" fmla="*/ 427455 w 484537"/>
                    <a:gd name="connsiteY0" fmla="*/ 0 h 114163"/>
                    <a:gd name="connsiteX1" fmla="*/ 484537 w 484537"/>
                    <a:gd name="connsiteY1" fmla="*/ 57082 h 114163"/>
                    <a:gd name="connsiteX2" fmla="*/ 427455 w 484537"/>
                    <a:gd name="connsiteY2" fmla="*/ 114163 h 114163"/>
                    <a:gd name="connsiteX3" fmla="*/ 370373 w 484537"/>
                    <a:gd name="connsiteY3" fmla="*/ 57082 h 114163"/>
                    <a:gd name="connsiteX4" fmla="*/ 427455 w 484537"/>
                    <a:gd name="connsiteY4" fmla="*/ 0 h 114163"/>
                    <a:gd name="connsiteX5" fmla="*/ 242268 w 484537"/>
                    <a:gd name="connsiteY5" fmla="*/ 0 h 114163"/>
                    <a:gd name="connsiteX6" fmla="*/ 299350 w 484537"/>
                    <a:gd name="connsiteY6" fmla="*/ 57082 h 114163"/>
                    <a:gd name="connsiteX7" fmla="*/ 242268 w 484537"/>
                    <a:gd name="connsiteY7" fmla="*/ 114163 h 114163"/>
                    <a:gd name="connsiteX8" fmla="*/ 185186 w 484537"/>
                    <a:gd name="connsiteY8" fmla="*/ 57082 h 114163"/>
                    <a:gd name="connsiteX9" fmla="*/ 242268 w 484537"/>
                    <a:gd name="connsiteY9" fmla="*/ 0 h 114163"/>
                    <a:gd name="connsiteX10" fmla="*/ 57082 w 484537"/>
                    <a:gd name="connsiteY10" fmla="*/ 0 h 114163"/>
                    <a:gd name="connsiteX11" fmla="*/ 114164 w 484537"/>
                    <a:gd name="connsiteY11" fmla="*/ 57082 h 114163"/>
                    <a:gd name="connsiteX12" fmla="*/ 57082 w 484537"/>
                    <a:gd name="connsiteY12" fmla="*/ 114163 h 114163"/>
                    <a:gd name="connsiteX13" fmla="*/ 0 w 484537"/>
                    <a:gd name="connsiteY13" fmla="*/ 57082 h 114163"/>
                    <a:gd name="connsiteX14" fmla="*/ 57082 w 484537"/>
                    <a:gd name="connsiteY14" fmla="*/ 0 h 1141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484537" h="114163">
                      <a:moveTo>
                        <a:pt x="427455" y="0"/>
                      </a:moveTo>
                      <a:cubicBezTo>
                        <a:pt x="458981" y="0"/>
                        <a:pt x="484537" y="25556"/>
                        <a:pt x="484537" y="57082"/>
                      </a:cubicBezTo>
                      <a:cubicBezTo>
                        <a:pt x="484537" y="88607"/>
                        <a:pt x="458981" y="114163"/>
                        <a:pt x="427455" y="114163"/>
                      </a:cubicBezTo>
                      <a:cubicBezTo>
                        <a:pt x="395930" y="114163"/>
                        <a:pt x="370373" y="88607"/>
                        <a:pt x="370373" y="57082"/>
                      </a:cubicBezTo>
                      <a:cubicBezTo>
                        <a:pt x="370373" y="25556"/>
                        <a:pt x="395930" y="0"/>
                        <a:pt x="427455" y="0"/>
                      </a:cubicBezTo>
                      <a:close/>
                      <a:moveTo>
                        <a:pt x="242268" y="0"/>
                      </a:moveTo>
                      <a:cubicBezTo>
                        <a:pt x="273794" y="0"/>
                        <a:pt x="299350" y="25556"/>
                        <a:pt x="299350" y="57082"/>
                      </a:cubicBezTo>
                      <a:cubicBezTo>
                        <a:pt x="299350" y="88607"/>
                        <a:pt x="273794" y="114163"/>
                        <a:pt x="242268" y="114163"/>
                      </a:cubicBezTo>
                      <a:cubicBezTo>
                        <a:pt x="210743" y="114163"/>
                        <a:pt x="185186" y="88607"/>
                        <a:pt x="185186" y="57082"/>
                      </a:cubicBezTo>
                      <a:cubicBezTo>
                        <a:pt x="185186" y="25556"/>
                        <a:pt x="210743" y="0"/>
                        <a:pt x="242268" y="0"/>
                      </a:cubicBezTo>
                      <a:close/>
                      <a:moveTo>
                        <a:pt x="57082" y="0"/>
                      </a:moveTo>
                      <a:cubicBezTo>
                        <a:pt x="88607" y="0"/>
                        <a:pt x="114164" y="25556"/>
                        <a:pt x="114164" y="57082"/>
                      </a:cubicBezTo>
                      <a:cubicBezTo>
                        <a:pt x="114164" y="88607"/>
                        <a:pt x="88607" y="114163"/>
                        <a:pt x="57082" y="114163"/>
                      </a:cubicBezTo>
                      <a:cubicBezTo>
                        <a:pt x="25556" y="114163"/>
                        <a:pt x="0" y="88607"/>
                        <a:pt x="0" y="57082"/>
                      </a:cubicBezTo>
                      <a:cubicBezTo>
                        <a:pt x="0" y="25556"/>
                        <a:pt x="25556" y="0"/>
                        <a:pt x="57082" y="0"/>
                      </a:cubicBezTo>
                      <a:close/>
                    </a:path>
                  </a:pathLst>
                </a:custGeom>
                <a:solidFill>
                  <a:srgbClr val="FFDE59"/>
                </a:solidFill>
              </p:spPr>
              <p:txBody>
                <a:bodyPr wrap="square">
                  <a:noAutofit/>
                </a:bodyPr>
                <a:lstStyle/>
                <a:p>
                  <a:endParaRPr lang="en-US" dirty="0"/>
                </a:p>
              </p:txBody>
            </p:sp>
          </p:grpSp>
        </p:grp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90A52860-6D81-C31F-BB5B-634704E79D38}"/>
                </a:ext>
              </a:extLst>
            </p:cNvPr>
            <p:cNvGrpSpPr/>
            <p:nvPr/>
          </p:nvGrpSpPr>
          <p:grpSpPr>
            <a:xfrm>
              <a:off x="756000" y="4236971"/>
              <a:ext cx="4256509" cy="3481030"/>
              <a:chOff x="756000" y="4236971"/>
              <a:chExt cx="4256509" cy="3481030"/>
            </a:xfrm>
          </p:grpSpPr>
          <p:sp>
            <p:nvSpPr>
              <p:cNvPr id="28" name="TextBox 28"/>
              <p:cNvSpPr txBox="1"/>
              <p:nvPr/>
            </p:nvSpPr>
            <p:spPr>
              <a:xfrm>
                <a:off x="756000" y="4236971"/>
                <a:ext cx="2658234" cy="1231265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l">
                  <a:lnSpc>
                    <a:spcPts val="1960"/>
                  </a:lnSpc>
                  <a:spcBef>
                    <a:spcPct val="0"/>
                  </a:spcBef>
                </a:pPr>
                <a:r>
                  <a:rPr lang="en-US" sz="1400" u="none" strike="noStrike" dirty="0">
                    <a:solidFill>
                      <a:srgbClr val="FFFFFF"/>
                    </a:solidFill>
                    <a:latin typeface="Cabin"/>
                  </a:rPr>
                  <a:t>Transform your outdoor space </a:t>
                </a:r>
              </a:p>
              <a:p>
                <a:pPr marL="0" lvl="0" indent="0" algn="l">
                  <a:lnSpc>
                    <a:spcPts val="1960"/>
                  </a:lnSpc>
                  <a:spcBef>
                    <a:spcPct val="0"/>
                  </a:spcBef>
                </a:pPr>
                <a:r>
                  <a:rPr lang="en-US" sz="1400" u="none" strike="noStrike" dirty="0">
                    <a:solidFill>
                      <a:srgbClr val="FFFFFF"/>
                    </a:solidFill>
                    <a:latin typeface="Cabin"/>
                  </a:rPr>
                  <a:t>into a breathtaking oasis with our expert landscaping services. From lush gardens to pristine lawns, we bring beauty to your doorstep</a:t>
                </a:r>
              </a:p>
            </p:txBody>
          </p:sp>
          <p:sp>
            <p:nvSpPr>
              <p:cNvPr id="30" name="Freeform 30"/>
              <p:cNvSpPr/>
              <p:nvPr/>
            </p:nvSpPr>
            <p:spPr>
              <a:xfrm>
                <a:off x="756000" y="7470301"/>
                <a:ext cx="264021" cy="247700"/>
              </a:xfrm>
              <a:custGeom>
                <a:avLst/>
                <a:gdLst/>
                <a:ahLst/>
                <a:cxnLst/>
                <a:rect l="l" t="t" r="r" b="b"/>
                <a:pathLst>
                  <a:path w="352028" h="330266">
                    <a:moveTo>
                      <a:pt x="0" y="0"/>
                    </a:moveTo>
                    <a:lnTo>
                      <a:pt x="352028" y="0"/>
                    </a:lnTo>
                    <a:lnTo>
                      <a:pt x="352028" y="330266"/>
                    </a:lnTo>
                    <a:lnTo>
                      <a:pt x="0" y="330266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a:blipFill>
              <a:ln cap="sq">
                <a:noFill/>
                <a:prstDash val="solid"/>
                <a:miter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1" name="TextBox 31"/>
              <p:cNvSpPr txBox="1"/>
              <p:nvPr/>
            </p:nvSpPr>
            <p:spPr>
              <a:xfrm>
                <a:off x="1149819" y="7477390"/>
                <a:ext cx="3811065" cy="233522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l">
                  <a:lnSpc>
                    <a:spcPts val="1960"/>
                  </a:lnSpc>
                  <a:spcBef>
                    <a:spcPct val="0"/>
                  </a:spcBef>
                </a:pPr>
                <a:r>
                  <a:rPr lang="en-US" sz="1400" u="none" strike="noStrike" dirty="0">
                    <a:solidFill>
                      <a:srgbClr val="FFFFFF"/>
                    </a:solidFill>
                    <a:latin typeface="Cabin"/>
                  </a:rPr>
                  <a:t>Tree care, hedge pruning, flower elegance</a:t>
                </a:r>
              </a:p>
            </p:txBody>
          </p:sp>
          <p:sp>
            <p:nvSpPr>
              <p:cNvPr id="33" name="Freeform 33"/>
              <p:cNvSpPr/>
              <p:nvPr/>
            </p:nvSpPr>
            <p:spPr>
              <a:xfrm>
                <a:off x="756000" y="6672458"/>
                <a:ext cx="264021" cy="247700"/>
              </a:xfrm>
              <a:custGeom>
                <a:avLst/>
                <a:gdLst/>
                <a:ahLst/>
                <a:cxnLst/>
                <a:rect l="l" t="t" r="r" b="b"/>
                <a:pathLst>
                  <a:path w="352028" h="330266">
                    <a:moveTo>
                      <a:pt x="0" y="0"/>
                    </a:moveTo>
                    <a:lnTo>
                      <a:pt x="352028" y="0"/>
                    </a:lnTo>
                    <a:lnTo>
                      <a:pt x="352028" y="330266"/>
                    </a:lnTo>
                    <a:lnTo>
                      <a:pt x="0" y="330266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a:blipFill>
              <a:ln cap="sq">
                <a:noFill/>
                <a:prstDash val="solid"/>
                <a:miter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4" name="TextBox 34"/>
              <p:cNvSpPr txBox="1"/>
              <p:nvPr/>
            </p:nvSpPr>
            <p:spPr>
              <a:xfrm>
                <a:off x="1146966" y="6679547"/>
                <a:ext cx="3865543" cy="233522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l">
                  <a:lnSpc>
                    <a:spcPts val="1960"/>
                  </a:lnSpc>
                  <a:spcBef>
                    <a:spcPct val="0"/>
                  </a:spcBef>
                </a:pPr>
                <a:r>
                  <a:rPr lang="en-US" sz="1400" u="none" strike="noStrike" dirty="0">
                    <a:solidFill>
                      <a:srgbClr val="FFFFFF"/>
                    </a:solidFill>
                    <a:latin typeface="Cabin"/>
                  </a:rPr>
                  <a:t>Fertilize, control weeds expertly</a:t>
                </a:r>
              </a:p>
            </p:txBody>
          </p:sp>
          <p:sp>
            <p:nvSpPr>
              <p:cNvPr id="36" name="Freeform 36"/>
              <p:cNvSpPr/>
              <p:nvPr/>
            </p:nvSpPr>
            <p:spPr>
              <a:xfrm>
                <a:off x="756000" y="7073132"/>
                <a:ext cx="260285" cy="244195"/>
              </a:xfrm>
              <a:custGeom>
                <a:avLst/>
                <a:gdLst/>
                <a:ahLst/>
                <a:cxnLst/>
                <a:rect l="l" t="t" r="r" b="b"/>
                <a:pathLst>
                  <a:path w="347047" h="325593">
                    <a:moveTo>
                      <a:pt x="0" y="0"/>
                    </a:moveTo>
                    <a:lnTo>
                      <a:pt x="347047" y="0"/>
                    </a:lnTo>
                    <a:lnTo>
                      <a:pt x="347047" y="325593"/>
                    </a:lnTo>
                    <a:lnTo>
                      <a:pt x="0" y="325593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a:blipFill>
              <a:ln cap="sq">
                <a:noFill/>
                <a:prstDash val="solid"/>
                <a:miter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7" name="TextBox 37"/>
              <p:cNvSpPr txBox="1"/>
              <p:nvPr/>
            </p:nvSpPr>
            <p:spPr>
              <a:xfrm>
                <a:off x="1146966" y="7078468"/>
                <a:ext cx="3813918" cy="233522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l">
                  <a:lnSpc>
                    <a:spcPts val="1960"/>
                  </a:lnSpc>
                  <a:spcBef>
                    <a:spcPct val="0"/>
                  </a:spcBef>
                </a:pPr>
                <a:r>
                  <a:rPr lang="en-US" sz="1400" u="none" strike="noStrike" dirty="0">
                    <a:solidFill>
                      <a:srgbClr val="FFFFFF"/>
                    </a:solidFill>
                    <a:latin typeface="Cabin"/>
                  </a:rPr>
                  <a:t>Maintain and repair irrigation systems</a:t>
                </a:r>
              </a:p>
            </p:txBody>
          </p:sp>
          <p:sp>
            <p:nvSpPr>
              <p:cNvPr id="38" name="TextBox 38"/>
              <p:cNvSpPr txBox="1"/>
              <p:nvPr/>
            </p:nvSpPr>
            <p:spPr>
              <a:xfrm>
                <a:off x="756000" y="5739550"/>
                <a:ext cx="1661736" cy="339725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2800"/>
                  </a:lnSpc>
                  <a:spcBef>
                    <a:spcPct val="0"/>
                  </a:spcBef>
                </a:pPr>
                <a:r>
                  <a:rPr lang="en-US" sz="2000" b="1" i="1" dirty="0">
                    <a:solidFill>
                      <a:srgbClr val="FFFFFF"/>
                    </a:solidFill>
                    <a:latin typeface="Montserrat" pitchFamily="2" charset="0"/>
                  </a:rPr>
                  <a:t>WE OFFER</a:t>
                </a:r>
              </a:p>
            </p:txBody>
          </p:sp>
          <p:sp>
            <p:nvSpPr>
              <p:cNvPr id="40" name="Freeform 40"/>
              <p:cNvSpPr/>
              <p:nvPr/>
            </p:nvSpPr>
            <p:spPr>
              <a:xfrm>
                <a:off x="756000" y="6271784"/>
                <a:ext cx="264021" cy="247700"/>
              </a:xfrm>
              <a:custGeom>
                <a:avLst/>
                <a:gdLst/>
                <a:ahLst/>
                <a:cxnLst/>
                <a:rect l="l" t="t" r="r" b="b"/>
                <a:pathLst>
                  <a:path w="352028" h="330266">
                    <a:moveTo>
                      <a:pt x="0" y="0"/>
                    </a:moveTo>
                    <a:lnTo>
                      <a:pt x="352028" y="0"/>
                    </a:lnTo>
                    <a:lnTo>
                      <a:pt x="352028" y="330266"/>
                    </a:lnTo>
                    <a:lnTo>
                      <a:pt x="0" y="330266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41" name="TextBox 41"/>
              <p:cNvSpPr txBox="1"/>
              <p:nvPr/>
            </p:nvSpPr>
            <p:spPr>
              <a:xfrm>
                <a:off x="1149820" y="6278873"/>
                <a:ext cx="2614155" cy="233522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l">
                  <a:lnSpc>
                    <a:spcPts val="1960"/>
                  </a:lnSpc>
                  <a:spcBef>
                    <a:spcPct val="0"/>
                  </a:spcBef>
                </a:pPr>
                <a:r>
                  <a:rPr lang="en-US" sz="1400" u="none" strike="noStrike" dirty="0">
                    <a:solidFill>
                      <a:srgbClr val="FFFFFF"/>
                    </a:solidFill>
                    <a:latin typeface="Cabin"/>
                  </a:rPr>
                  <a:t>Mow the Garden with Precision</a:t>
                </a:r>
              </a:p>
            </p:txBody>
          </p: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9792C42D-D402-7B73-43DF-CB86CC3D843D}"/>
                </a:ext>
              </a:extLst>
            </p:cNvPr>
            <p:cNvGrpSpPr/>
            <p:nvPr/>
          </p:nvGrpSpPr>
          <p:grpSpPr>
            <a:xfrm>
              <a:off x="-17776" y="4698"/>
              <a:ext cx="7602007" cy="8208529"/>
              <a:chOff x="-17776" y="4698"/>
              <a:chExt cx="7602007" cy="8208529"/>
            </a:xfrm>
          </p:grpSpPr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6669375B-E7AE-B98B-57FA-82E1607A881C}"/>
                  </a:ext>
                </a:extLst>
              </p:cNvPr>
              <p:cNvSpPr/>
              <p:nvPr/>
            </p:nvSpPr>
            <p:spPr>
              <a:xfrm>
                <a:off x="-17776" y="4698"/>
                <a:ext cx="7592051" cy="4993660"/>
              </a:xfrm>
              <a:custGeom>
                <a:avLst/>
                <a:gdLst>
                  <a:gd name="connsiteX0" fmla="*/ 0 w 7592051"/>
                  <a:gd name="connsiteY0" fmla="*/ 0 h 4993660"/>
                  <a:gd name="connsiteX1" fmla="*/ 7592051 w 7592051"/>
                  <a:gd name="connsiteY1" fmla="*/ 0 h 4993660"/>
                  <a:gd name="connsiteX2" fmla="*/ 7592051 w 7592051"/>
                  <a:gd name="connsiteY2" fmla="*/ 4854674 h 4993660"/>
                  <a:gd name="connsiteX3" fmla="*/ 7592051 w 7592051"/>
                  <a:gd name="connsiteY3" fmla="*/ 4993660 h 4993660"/>
                  <a:gd name="connsiteX4" fmla="*/ 0 w 7592051"/>
                  <a:gd name="connsiteY4" fmla="*/ 4993660 h 4993660"/>
                  <a:gd name="connsiteX5" fmla="*/ 0 w 7592051"/>
                  <a:gd name="connsiteY5" fmla="*/ 4854674 h 49936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592051" h="4993660">
                    <a:moveTo>
                      <a:pt x="0" y="0"/>
                    </a:moveTo>
                    <a:lnTo>
                      <a:pt x="7592051" y="0"/>
                    </a:lnTo>
                    <a:lnTo>
                      <a:pt x="7592051" y="4854674"/>
                    </a:lnTo>
                    <a:lnTo>
                      <a:pt x="7592051" y="4993660"/>
                    </a:lnTo>
                    <a:lnTo>
                      <a:pt x="0" y="4993660"/>
                    </a:lnTo>
                    <a:lnTo>
                      <a:pt x="0" y="4854674"/>
                    </a:lnTo>
                    <a:close/>
                  </a:path>
                </a:pathLst>
              </a:custGeom>
              <a:blipFill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tretch>
                  <a:fillRect/>
                </a:stretch>
              </a:blipFill>
            </p:spPr>
            <p:txBody>
              <a:bodyPr wrap="square">
                <a:noAutofit/>
              </a:bodyPr>
              <a:lstStyle/>
              <a:p>
                <a:endParaRPr lang="en-US" dirty="0"/>
              </a:p>
            </p:txBody>
          </p:sp>
          <p:grpSp>
            <p:nvGrpSpPr>
              <p:cNvPr id="54" name="Group 53">
                <a:extLst>
                  <a:ext uri="{FF2B5EF4-FFF2-40B4-BE49-F238E27FC236}">
                    <a16:creationId xmlns:a16="http://schemas.microsoft.com/office/drawing/2014/main" id="{CBD28195-F604-3F1B-BA7B-07A492C449F1}"/>
                  </a:ext>
                </a:extLst>
              </p:cNvPr>
              <p:cNvGrpSpPr/>
              <p:nvPr/>
            </p:nvGrpSpPr>
            <p:grpSpPr>
              <a:xfrm>
                <a:off x="4288790" y="3090128"/>
                <a:ext cx="3295441" cy="4573350"/>
                <a:chOff x="4288790" y="3090128"/>
                <a:chExt cx="3295441" cy="4573350"/>
              </a:xfrm>
            </p:grpSpPr>
            <p:sp>
              <p:nvSpPr>
                <p:cNvPr id="11" name="Freeform: Shape 10">
                  <a:extLst>
                    <a:ext uri="{FF2B5EF4-FFF2-40B4-BE49-F238E27FC236}">
                      <a16:creationId xmlns:a16="http://schemas.microsoft.com/office/drawing/2014/main" id="{AF82CDED-0F99-F1EC-1BA0-C35795ABEA11}"/>
                    </a:ext>
                  </a:extLst>
                </p:cNvPr>
                <p:cNvSpPr/>
                <p:nvPr/>
              </p:nvSpPr>
              <p:spPr>
                <a:xfrm>
                  <a:off x="4296979" y="3131782"/>
                  <a:ext cx="3279062" cy="4490042"/>
                </a:xfrm>
                <a:custGeom>
                  <a:avLst/>
                  <a:gdLst>
                    <a:gd name="connsiteX0" fmla="*/ 2255061 w 3279062"/>
                    <a:gd name="connsiteY0" fmla="*/ 23 h 4490042"/>
                    <a:gd name="connsiteX1" fmla="*/ 3253083 w 3279062"/>
                    <a:gd name="connsiteY1" fmla="*/ 229077 h 4490042"/>
                    <a:gd name="connsiteX2" fmla="*/ 3279062 w 3279062"/>
                    <a:gd name="connsiteY2" fmla="*/ 242873 h 4490042"/>
                    <a:gd name="connsiteX3" fmla="*/ 3279062 w 3279062"/>
                    <a:gd name="connsiteY3" fmla="*/ 4247170 h 4490042"/>
                    <a:gd name="connsiteX4" fmla="*/ 3253083 w 3279062"/>
                    <a:gd name="connsiteY4" fmla="*/ 4260966 h 4490042"/>
                    <a:gd name="connsiteX5" fmla="*/ 2255061 w 3279062"/>
                    <a:gd name="connsiteY5" fmla="*/ 4490020 h 4490042"/>
                    <a:gd name="connsiteX6" fmla="*/ 302452 w 3279062"/>
                    <a:gd name="connsiteY6" fmla="*/ 3370429 h 4490042"/>
                    <a:gd name="connsiteX7" fmla="*/ 302452 w 3279062"/>
                    <a:gd name="connsiteY7" fmla="*/ 1119614 h 4490042"/>
                    <a:gd name="connsiteX8" fmla="*/ 2255061 w 3279062"/>
                    <a:gd name="connsiteY8" fmla="*/ 23 h 44900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279062" h="4490042">
                      <a:moveTo>
                        <a:pt x="2255061" y="23"/>
                      </a:moveTo>
                      <a:cubicBezTo>
                        <a:pt x="2607009" y="-1550"/>
                        <a:pt x="2947556" y="79315"/>
                        <a:pt x="3253083" y="229077"/>
                      </a:cubicBezTo>
                      <a:lnTo>
                        <a:pt x="3279062" y="242873"/>
                      </a:lnTo>
                      <a:lnTo>
                        <a:pt x="3279062" y="4247170"/>
                      </a:lnTo>
                      <a:lnTo>
                        <a:pt x="3253083" y="4260966"/>
                      </a:lnTo>
                      <a:cubicBezTo>
                        <a:pt x="2947556" y="4410728"/>
                        <a:pt x="2607009" y="4491593"/>
                        <a:pt x="2255061" y="4490020"/>
                      </a:cubicBezTo>
                      <a:cubicBezTo>
                        <a:pt x="1450609" y="4493617"/>
                        <a:pt x="705720" y="4066511"/>
                        <a:pt x="302452" y="3370429"/>
                      </a:cubicBezTo>
                      <a:cubicBezTo>
                        <a:pt x="-100817" y="2674345"/>
                        <a:pt x="-100817" y="1815697"/>
                        <a:pt x="302452" y="1119614"/>
                      </a:cubicBezTo>
                      <a:cubicBezTo>
                        <a:pt x="705720" y="423531"/>
                        <a:pt x="1450609" y="-3575"/>
                        <a:pt x="2255061" y="23"/>
                      </a:cubicBezTo>
                      <a:close/>
                    </a:path>
                  </a:pathLst>
                </a:custGeom>
                <a:blipFill>
                  <a:blip r:embed="rId10"/>
                  <a:stretch>
                    <a:fillRect l="-22342" r="-11511"/>
                  </a:stretch>
                </a:blipFill>
              </p:spPr>
              <p:txBody>
                <a:bodyPr wrap="square">
                  <a:noAutofit/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" name="Freeform: Shape 12">
                  <a:extLst>
                    <a:ext uri="{FF2B5EF4-FFF2-40B4-BE49-F238E27FC236}">
                      <a16:creationId xmlns:a16="http://schemas.microsoft.com/office/drawing/2014/main" id="{693D2814-AB50-98BB-E596-FCABEACCD6A4}"/>
                    </a:ext>
                  </a:extLst>
                </p:cNvPr>
                <p:cNvSpPr/>
                <p:nvPr/>
              </p:nvSpPr>
              <p:spPr>
                <a:xfrm>
                  <a:off x="4288790" y="3090128"/>
                  <a:ext cx="3295441" cy="4573350"/>
                </a:xfrm>
                <a:custGeom>
                  <a:avLst/>
                  <a:gdLst>
                    <a:gd name="connsiteX0" fmla="*/ 2286680 w 3295441"/>
                    <a:gd name="connsiteY0" fmla="*/ 0 h 4573350"/>
                    <a:gd name="connsiteX1" fmla="*/ 3175917 w 3295441"/>
                    <a:gd name="connsiteY1" fmla="*/ 179986 h 4573350"/>
                    <a:gd name="connsiteX2" fmla="*/ 3295441 w 3295441"/>
                    <a:gd name="connsiteY2" fmla="*/ 237651 h 4573350"/>
                    <a:gd name="connsiteX3" fmla="*/ 3295441 w 3295441"/>
                    <a:gd name="connsiteY3" fmla="*/ 330107 h 4573350"/>
                    <a:gd name="connsiteX4" fmla="*/ 3143483 w 3295441"/>
                    <a:gd name="connsiteY4" fmla="*/ 256795 h 4573350"/>
                    <a:gd name="connsiteX5" fmla="*/ 2286680 w 3295441"/>
                    <a:gd name="connsiteY5" fmla="*/ 83372 h 4573350"/>
                    <a:gd name="connsiteX6" fmla="*/ 83372 w 3295441"/>
                    <a:gd name="connsiteY6" fmla="*/ 2286707 h 4573350"/>
                    <a:gd name="connsiteX7" fmla="*/ 2286680 w 3295441"/>
                    <a:gd name="connsiteY7" fmla="*/ 4490006 h 4573350"/>
                    <a:gd name="connsiteX8" fmla="*/ 3143483 w 3295441"/>
                    <a:gd name="connsiteY8" fmla="*/ 4316585 h 4573350"/>
                    <a:gd name="connsiteX9" fmla="*/ 3295441 w 3295441"/>
                    <a:gd name="connsiteY9" fmla="*/ 4243274 h 4573350"/>
                    <a:gd name="connsiteX10" fmla="*/ 3295441 w 3295441"/>
                    <a:gd name="connsiteY10" fmla="*/ 4335709 h 4573350"/>
                    <a:gd name="connsiteX11" fmla="*/ 3175917 w 3295441"/>
                    <a:gd name="connsiteY11" fmla="*/ 4393372 h 4573350"/>
                    <a:gd name="connsiteX12" fmla="*/ 2286680 w 3295441"/>
                    <a:gd name="connsiteY12" fmla="*/ 4573350 h 4573350"/>
                    <a:gd name="connsiteX13" fmla="*/ 0 w 3295441"/>
                    <a:gd name="connsiteY13" fmla="*/ 2286707 h 4573350"/>
                    <a:gd name="connsiteX14" fmla="*/ 2286680 w 3295441"/>
                    <a:gd name="connsiteY14" fmla="*/ 0 h 45733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3295441" h="4573350">
                      <a:moveTo>
                        <a:pt x="2286680" y="0"/>
                      </a:moveTo>
                      <a:cubicBezTo>
                        <a:pt x="2601905" y="0"/>
                        <a:pt x="2902436" y="64114"/>
                        <a:pt x="3175917" y="179986"/>
                      </a:cubicBezTo>
                      <a:lnTo>
                        <a:pt x="3295441" y="237651"/>
                      </a:lnTo>
                      <a:lnTo>
                        <a:pt x="3295441" y="330107"/>
                      </a:lnTo>
                      <a:lnTo>
                        <a:pt x="3143483" y="256795"/>
                      </a:lnTo>
                      <a:cubicBezTo>
                        <a:pt x="2879973" y="145148"/>
                        <a:pt x="2590403" y="83372"/>
                        <a:pt x="2286680" y="83372"/>
                      </a:cubicBezTo>
                      <a:cubicBezTo>
                        <a:pt x="1071776" y="83372"/>
                        <a:pt x="83372" y="1071785"/>
                        <a:pt x="83372" y="2286707"/>
                      </a:cubicBezTo>
                      <a:cubicBezTo>
                        <a:pt x="83372" y="3501620"/>
                        <a:pt x="1071776" y="4490006"/>
                        <a:pt x="2286680" y="4490006"/>
                      </a:cubicBezTo>
                      <a:cubicBezTo>
                        <a:pt x="2590403" y="4490006"/>
                        <a:pt x="2879973" y="4428230"/>
                        <a:pt x="3143483" y="4316585"/>
                      </a:cubicBezTo>
                      <a:lnTo>
                        <a:pt x="3295441" y="4243274"/>
                      </a:lnTo>
                      <a:lnTo>
                        <a:pt x="3295441" y="4335709"/>
                      </a:lnTo>
                      <a:lnTo>
                        <a:pt x="3175917" y="4393372"/>
                      </a:lnTo>
                      <a:cubicBezTo>
                        <a:pt x="2902436" y="4509239"/>
                        <a:pt x="2601905" y="4573350"/>
                        <a:pt x="2286680" y="4573350"/>
                      </a:cubicBezTo>
                      <a:cubicBezTo>
                        <a:pt x="1025786" y="4573350"/>
                        <a:pt x="0" y="3547582"/>
                        <a:pt x="0" y="2286707"/>
                      </a:cubicBezTo>
                      <a:cubicBezTo>
                        <a:pt x="0" y="1025813"/>
                        <a:pt x="1025795" y="0"/>
                        <a:pt x="2286680" y="0"/>
                      </a:cubicBezTo>
                      <a:close/>
                    </a:path>
                  </a:pathLst>
                </a:custGeom>
                <a:solidFill>
                  <a:srgbClr val="FFDE59"/>
                </a:solidFill>
              </p:spPr>
              <p:txBody>
                <a:bodyPr wrap="square">
                  <a:noAutofit/>
                </a:bodyPr>
                <a:lstStyle/>
                <a:p>
                  <a:endParaRPr lang="en-US" dirty="0"/>
                </a:p>
              </p:txBody>
            </p:sp>
          </p:grpSp>
          <p:grpSp>
            <p:nvGrpSpPr>
              <p:cNvPr id="47" name="Group 46">
                <a:extLst>
                  <a:ext uri="{FF2B5EF4-FFF2-40B4-BE49-F238E27FC236}">
                    <a16:creationId xmlns:a16="http://schemas.microsoft.com/office/drawing/2014/main" id="{78A44A40-6890-7FDE-77A0-BD8FD21EAD80}"/>
                  </a:ext>
                </a:extLst>
              </p:cNvPr>
              <p:cNvGrpSpPr/>
              <p:nvPr/>
            </p:nvGrpSpPr>
            <p:grpSpPr>
              <a:xfrm>
                <a:off x="5213914" y="6623141"/>
                <a:ext cx="1590086" cy="1590086"/>
                <a:chOff x="5213914" y="6623141"/>
                <a:chExt cx="1590086" cy="1590086"/>
              </a:xfrm>
            </p:grpSpPr>
            <p:sp>
              <p:nvSpPr>
                <p:cNvPr id="16" name="Freeform 16"/>
                <p:cNvSpPr/>
                <p:nvPr/>
              </p:nvSpPr>
              <p:spPr>
                <a:xfrm>
                  <a:off x="5213914" y="6623141"/>
                  <a:ext cx="1590086" cy="159008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0114" h="2120114">
                      <a:moveTo>
                        <a:pt x="0" y="0"/>
                      </a:moveTo>
                      <a:lnTo>
                        <a:pt x="2120114" y="0"/>
                      </a:lnTo>
                      <a:lnTo>
                        <a:pt x="2120114" y="2120114"/>
                      </a:lnTo>
                      <a:lnTo>
                        <a:pt x="0" y="212011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blipFill>
                  <a:blip r:embed="rId11">
                    <a:extLst>
                      <a:ext uri="{96DAC541-7B7A-43D3-8B79-37D633B846F1}">
                        <asvg:svgBlip xmlns:asvg="http://schemas.microsoft.com/office/drawing/2016/SVG/main" r:embed="rId12"/>
                      </a:ext>
                    </a:extLst>
                  </a:blip>
                  <a:stretch>
                    <a:fillRect/>
                  </a:stretch>
                </a:blipFill>
              </p:spPr>
              <p:txBody>
                <a:bodyPr/>
                <a:lstStyle/>
                <a:p>
                  <a:endParaRPr lang="en-US" dirty="0"/>
                </a:p>
              </p:txBody>
            </p:sp>
            <p:grpSp>
              <p:nvGrpSpPr>
                <p:cNvPr id="46" name="Group 45">
                  <a:extLst>
                    <a:ext uri="{FF2B5EF4-FFF2-40B4-BE49-F238E27FC236}">
                      <a16:creationId xmlns:a16="http://schemas.microsoft.com/office/drawing/2014/main" id="{11476842-51F3-01E9-90B6-D123B641D3E4}"/>
                    </a:ext>
                  </a:extLst>
                </p:cNvPr>
                <p:cNvGrpSpPr/>
                <p:nvPr/>
              </p:nvGrpSpPr>
              <p:grpSpPr>
                <a:xfrm>
                  <a:off x="5453201" y="6962770"/>
                  <a:ext cx="1111512" cy="910826"/>
                  <a:chOff x="5453202" y="6966568"/>
                  <a:chExt cx="1111512" cy="910826"/>
                </a:xfrm>
              </p:grpSpPr>
              <p:sp>
                <p:nvSpPr>
                  <p:cNvPr id="17" name="TextBox 17"/>
                  <p:cNvSpPr txBox="1"/>
                  <p:nvPr/>
                </p:nvSpPr>
                <p:spPr>
                  <a:xfrm>
                    <a:off x="5453202" y="6966568"/>
                    <a:ext cx="1111512" cy="610806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algn="ctr">
                      <a:lnSpc>
                        <a:spcPts val="5152"/>
                      </a:lnSpc>
                      <a:spcBef>
                        <a:spcPct val="0"/>
                      </a:spcBef>
                    </a:pPr>
                    <a:r>
                      <a:rPr lang="en-US" sz="3680" dirty="0">
                        <a:solidFill>
                          <a:srgbClr val="008037"/>
                        </a:solidFill>
                        <a:latin typeface="Montserrat Black" pitchFamily="2" charset="0"/>
                      </a:rPr>
                      <a:t>30%</a:t>
                    </a:r>
                  </a:p>
                </p:txBody>
              </p:sp>
              <p:sp>
                <p:nvSpPr>
                  <p:cNvPr id="18" name="TextBox 18"/>
                  <p:cNvSpPr txBox="1"/>
                  <p:nvPr/>
                </p:nvSpPr>
                <p:spPr>
                  <a:xfrm>
                    <a:off x="5621868" y="7451073"/>
                    <a:ext cx="774179" cy="426321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algn="ctr">
                      <a:lnSpc>
                        <a:spcPts val="3588"/>
                      </a:lnSpc>
                      <a:spcBef>
                        <a:spcPct val="0"/>
                      </a:spcBef>
                    </a:pPr>
                    <a:r>
                      <a:rPr lang="en-US" sz="2563" dirty="0">
                        <a:solidFill>
                          <a:srgbClr val="008037"/>
                        </a:solidFill>
                        <a:latin typeface="Montserrat SemiBold" pitchFamily="2" charset="0"/>
                      </a:rPr>
                      <a:t>OFF</a:t>
                    </a:r>
                  </a:p>
                </p:txBody>
              </p:sp>
            </p:grpSp>
          </p:grpSp>
        </p:grpSp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3D540D79-A9B8-2991-8F0F-5F32A8E24F91}"/>
                </a:ext>
              </a:extLst>
            </p:cNvPr>
            <p:cNvGrpSpPr/>
            <p:nvPr/>
          </p:nvGrpSpPr>
          <p:grpSpPr>
            <a:xfrm>
              <a:off x="754532" y="698919"/>
              <a:ext cx="6049469" cy="2119132"/>
              <a:chOff x="754532" y="698919"/>
              <a:chExt cx="6049469" cy="2119132"/>
            </a:xfrm>
          </p:grpSpPr>
          <p:sp>
            <p:nvSpPr>
              <p:cNvPr id="27" name="TextBox 27"/>
              <p:cNvSpPr txBox="1"/>
              <p:nvPr/>
            </p:nvSpPr>
            <p:spPr>
              <a:xfrm>
                <a:off x="754532" y="1638241"/>
                <a:ext cx="6049468" cy="1179810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>
                  <a:lnSpc>
                    <a:spcPts val="4559"/>
                  </a:lnSpc>
                </a:pPr>
                <a:r>
                  <a:rPr lang="en-US" sz="4550" dirty="0">
                    <a:solidFill>
                      <a:srgbClr val="FFFFFF"/>
                    </a:solidFill>
                    <a:latin typeface="Montserrat Black" pitchFamily="2" charset="0"/>
                  </a:rPr>
                  <a:t>LANDSCAPING FLYER</a:t>
                </a:r>
              </a:p>
            </p:txBody>
          </p:sp>
          <p:grpSp>
            <p:nvGrpSpPr>
              <p:cNvPr id="39" name="Group 38">
                <a:extLst>
                  <a:ext uri="{FF2B5EF4-FFF2-40B4-BE49-F238E27FC236}">
                    <a16:creationId xmlns:a16="http://schemas.microsoft.com/office/drawing/2014/main" id="{F85ED005-2B39-B4DD-0F2D-F3118F0D9573}"/>
                  </a:ext>
                </a:extLst>
              </p:cNvPr>
              <p:cNvGrpSpPr/>
              <p:nvPr/>
            </p:nvGrpSpPr>
            <p:grpSpPr>
              <a:xfrm>
                <a:off x="754532" y="698919"/>
                <a:ext cx="6049469" cy="483976"/>
                <a:chOff x="754532" y="698919"/>
                <a:chExt cx="6049469" cy="483976"/>
              </a:xfrm>
            </p:grpSpPr>
            <p:sp>
              <p:nvSpPr>
                <p:cNvPr id="5" name="Freeform 5"/>
                <p:cNvSpPr/>
                <p:nvPr/>
              </p:nvSpPr>
              <p:spPr>
                <a:xfrm>
                  <a:off x="754532" y="698919"/>
                  <a:ext cx="483096" cy="4839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3096" h="483976">
                      <a:moveTo>
                        <a:pt x="0" y="0"/>
                      </a:moveTo>
                      <a:lnTo>
                        <a:pt x="483096" y="0"/>
                      </a:lnTo>
                      <a:lnTo>
                        <a:pt x="483096" y="483976"/>
                      </a:lnTo>
                      <a:lnTo>
                        <a:pt x="0" y="48397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blipFill>
                  <a:blip r:embed="rId13">
                    <a:extLst>
                      <a:ext uri="{96DAC541-7B7A-43D3-8B79-37D633B846F1}">
                        <asvg:svgBlip xmlns:asvg="http://schemas.microsoft.com/office/drawing/2016/SVG/main" r:embed="rId14"/>
                      </a:ext>
                    </a:extLst>
                  </a:blip>
                  <a:stretch>
                    <a:fillRect/>
                  </a:stretch>
                </a:blipFill>
                <a:ln cap="sq">
                  <a:noFill/>
                  <a:prstDash val="solid"/>
                  <a:miter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grpSp>
              <p:nvGrpSpPr>
                <p:cNvPr id="35" name="Group 34">
                  <a:extLst>
                    <a:ext uri="{FF2B5EF4-FFF2-40B4-BE49-F238E27FC236}">
                      <a16:creationId xmlns:a16="http://schemas.microsoft.com/office/drawing/2014/main" id="{74D0247E-A9FD-A552-BF92-637B8A6FD946}"/>
                    </a:ext>
                  </a:extLst>
                </p:cNvPr>
                <p:cNvGrpSpPr/>
                <p:nvPr/>
              </p:nvGrpSpPr>
              <p:grpSpPr>
                <a:xfrm>
                  <a:off x="1325229" y="770152"/>
                  <a:ext cx="1785559" cy="341509"/>
                  <a:chOff x="1325229" y="816518"/>
                  <a:chExt cx="1785559" cy="341509"/>
                </a:xfrm>
              </p:grpSpPr>
              <p:sp>
                <p:nvSpPr>
                  <p:cNvPr id="25" name="TextBox 25"/>
                  <p:cNvSpPr txBox="1"/>
                  <p:nvPr/>
                </p:nvSpPr>
                <p:spPr>
                  <a:xfrm>
                    <a:off x="1325229" y="816518"/>
                    <a:ext cx="1785559" cy="248530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>
                      <a:lnSpc>
                        <a:spcPts val="2057"/>
                      </a:lnSpc>
                      <a:spcBef>
                        <a:spcPct val="0"/>
                      </a:spcBef>
                    </a:pPr>
                    <a:r>
                      <a:rPr lang="en-US" sz="1450" dirty="0">
                        <a:solidFill>
                          <a:srgbClr val="FFFFFF"/>
                        </a:solidFill>
                        <a:latin typeface="Montserrat Black" pitchFamily="2" charset="0"/>
                      </a:rPr>
                      <a:t>COMPANY</a:t>
                    </a:r>
                  </a:p>
                </p:txBody>
              </p:sp>
              <p:sp>
                <p:nvSpPr>
                  <p:cNvPr id="26" name="TextBox 26"/>
                  <p:cNvSpPr txBox="1"/>
                  <p:nvPr/>
                </p:nvSpPr>
                <p:spPr>
                  <a:xfrm>
                    <a:off x="1325229" y="1024274"/>
                    <a:ext cx="1359891" cy="133753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>
                      <a:lnSpc>
                        <a:spcPts val="1131"/>
                      </a:lnSpc>
                      <a:spcBef>
                        <a:spcPct val="0"/>
                      </a:spcBef>
                    </a:pPr>
                    <a:r>
                      <a:rPr lang="en-US" sz="800" dirty="0">
                        <a:solidFill>
                          <a:srgbClr val="FFFFFF"/>
                        </a:solidFill>
                        <a:latin typeface="Montserrat SemiBold" pitchFamily="2" charset="0"/>
                      </a:rPr>
                      <a:t>LANDSCAPING SERVICES</a:t>
                    </a:r>
                  </a:p>
                </p:txBody>
              </p:sp>
            </p:grpSp>
            <p:sp>
              <p:nvSpPr>
                <p:cNvPr id="2" name="Freeform: Shape 1">
                  <a:extLst>
                    <a:ext uri="{FF2B5EF4-FFF2-40B4-BE49-F238E27FC236}">
                      <a16:creationId xmlns:a16="http://schemas.microsoft.com/office/drawing/2014/main" id="{C36CF41D-DC26-7CF7-DB59-5BD5E2765A95}"/>
                    </a:ext>
                  </a:extLst>
                </p:cNvPr>
                <p:cNvSpPr/>
                <p:nvPr/>
              </p:nvSpPr>
              <p:spPr>
                <a:xfrm>
                  <a:off x="6319464" y="883825"/>
                  <a:ext cx="484537" cy="114163"/>
                </a:xfrm>
                <a:custGeom>
                  <a:avLst/>
                  <a:gdLst>
                    <a:gd name="connsiteX0" fmla="*/ 427455 w 484537"/>
                    <a:gd name="connsiteY0" fmla="*/ 0 h 114163"/>
                    <a:gd name="connsiteX1" fmla="*/ 484537 w 484537"/>
                    <a:gd name="connsiteY1" fmla="*/ 57082 h 114163"/>
                    <a:gd name="connsiteX2" fmla="*/ 427455 w 484537"/>
                    <a:gd name="connsiteY2" fmla="*/ 114163 h 114163"/>
                    <a:gd name="connsiteX3" fmla="*/ 370373 w 484537"/>
                    <a:gd name="connsiteY3" fmla="*/ 57082 h 114163"/>
                    <a:gd name="connsiteX4" fmla="*/ 427455 w 484537"/>
                    <a:gd name="connsiteY4" fmla="*/ 0 h 114163"/>
                    <a:gd name="connsiteX5" fmla="*/ 242268 w 484537"/>
                    <a:gd name="connsiteY5" fmla="*/ 0 h 114163"/>
                    <a:gd name="connsiteX6" fmla="*/ 299350 w 484537"/>
                    <a:gd name="connsiteY6" fmla="*/ 57082 h 114163"/>
                    <a:gd name="connsiteX7" fmla="*/ 242268 w 484537"/>
                    <a:gd name="connsiteY7" fmla="*/ 114163 h 114163"/>
                    <a:gd name="connsiteX8" fmla="*/ 185186 w 484537"/>
                    <a:gd name="connsiteY8" fmla="*/ 57082 h 114163"/>
                    <a:gd name="connsiteX9" fmla="*/ 242268 w 484537"/>
                    <a:gd name="connsiteY9" fmla="*/ 0 h 114163"/>
                    <a:gd name="connsiteX10" fmla="*/ 57082 w 484537"/>
                    <a:gd name="connsiteY10" fmla="*/ 0 h 114163"/>
                    <a:gd name="connsiteX11" fmla="*/ 114164 w 484537"/>
                    <a:gd name="connsiteY11" fmla="*/ 57082 h 114163"/>
                    <a:gd name="connsiteX12" fmla="*/ 57082 w 484537"/>
                    <a:gd name="connsiteY12" fmla="*/ 114163 h 114163"/>
                    <a:gd name="connsiteX13" fmla="*/ 0 w 484537"/>
                    <a:gd name="connsiteY13" fmla="*/ 57082 h 114163"/>
                    <a:gd name="connsiteX14" fmla="*/ 57082 w 484537"/>
                    <a:gd name="connsiteY14" fmla="*/ 0 h 1141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484537" h="114163">
                      <a:moveTo>
                        <a:pt x="427455" y="0"/>
                      </a:moveTo>
                      <a:cubicBezTo>
                        <a:pt x="458981" y="0"/>
                        <a:pt x="484537" y="25556"/>
                        <a:pt x="484537" y="57082"/>
                      </a:cubicBezTo>
                      <a:cubicBezTo>
                        <a:pt x="484537" y="88607"/>
                        <a:pt x="458981" y="114163"/>
                        <a:pt x="427455" y="114163"/>
                      </a:cubicBezTo>
                      <a:cubicBezTo>
                        <a:pt x="395930" y="114163"/>
                        <a:pt x="370373" y="88607"/>
                        <a:pt x="370373" y="57082"/>
                      </a:cubicBezTo>
                      <a:cubicBezTo>
                        <a:pt x="370373" y="25556"/>
                        <a:pt x="395930" y="0"/>
                        <a:pt x="427455" y="0"/>
                      </a:cubicBezTo>
                      <a:close/>
                      <a:moveTo>
                        <a:pt x="242268" y="0"/>
                      </a:moveTo>
                      <a:cubicBezTo>
                        <a:pt x="273794" y="0"/>
                        <a:pt x="299350" y="25556"/>
                        <a:pt x="299350" y="57082"/>
                      </a:cubicBezTo>
                      <a:cubicBezTo>
                        <a:pt x="299350" y="88607"/>
                        <a:pt x="273794" y="114163"/>
                        <a:pt x="242268" y="114163"/>
                      </a:cubicBezTo>
                      <a:cubicBezTo>
                        <a:pt x="210743" y="114163"/>
                        <a:pt x="185186" y="88607"/>
                        <a:pt x="185186" y="57082"/>
                      </a:cubicBezTo>
                      <a:cubicBezTo>
                        <a:pt x="185186" y="25556"/>
                        <a:pt x="210743" y="0"/>
                        <a:pt x="242268" y="0"/>
                      </a:cubicBezTo>
                      <a:close/>
                      <a:moveTo>
                        <a:pt x="57082" y="0"/>
                      </a:moveTo>
                      <a:cubicBezTo>
                        <a:pt x="88607" y="0"/>
                        <a:pt x="114164" y="25556"/>
                        <a:pt x="114164" y="57082"/>
                      </a:cubicBezTo>
                      <a:cubicBezTo>
                        <a:pt x="114164" y="88607"/>
                        <a:pt x="88607" y="114163"/>
                        <a:pt x="57082" y="114163"/>
                      </a:cubicBezTo>
                      <a:cubicBezTo>
                        <a:pt x="25556" y="114163"/>
                        <a:pt x="0" y="88607"/>
                        <a:pt x="0" y="57082"/>
                      </a:cubicBezTo>
                      <a:cubicBezTo>
                        <a:pt x="0" y="25556"/>
                        <a:pt x="25556" y="0"/>
                        <a:pt x="57082" y="0"/>
                      </a:cubicBezTo>
                      <a:close/>
                    </a:path>
                  </a:pathLst>
                </a:custGeom>
                <a:solidFill>
                  <a:srgbClr val="FFDE59"/>
                </a:solidFill>
              </p:spPr>
              <p:txBody>
                <a:bodyPr wrap="square">
                  <a:noAutofit/>
                </a:bodyPr>
                <a:lstStyle/>
                <a:p>
                  <a:endParaRPr lang="en-US" dirty="0"/>
                </a:p>
              </p:txBody>
            </p:sp>
          </p:grpSp>
        </p:grpSp>
        <p:sp>
          <p:nvSpPr>
            <p:cNvPr id="42" name="TemplateLAB"/>
            <p:cNvSpPr/>
            <p:nvPr/>
          </p:nvSpPr>
          <p:spPr>
            <a:xfrm rot="5400000">
              <a:off x="6851877" y="8274914"/>
              <a:ext cx="626438" cy="103362"/>
            </a:xfrm>
            <a:custGeom>
              <a:avLst/>
              <a:gdLst/>
              <a:ahLst/>
              <a:cxnLst/>
              <a:rect l="l" t="t" r="r" b="b"/>
              <a:pathLst>
                <a:path w="626438" h="103362">
                  <a:moveTo>
                    <a:pt x="0" y="0"/>
                  </a:moveTo>
                  <a:lnTo>
                    <a:pt x="626437" y="0"/>
                  </a:lnTo>
                  <a:lnTo>
                    <a:pt x="626437" y="103362"/>
                  </a:lnTo>
                  <a:lnTo>
                    <a:pt x="0" y="103362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15">
                <a:extLst>
                  <a:ext uri="{96DAC541-7B7A-43D3-8B79-37D633B846F1}">
                    <asvg:svgBlip xmlns:asvg="http://schemas.microsoft.com/office/drawing/2016/SVG/main" r:embed="rId16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US" dirty="0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3294988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8</TotalTime>
  <Words>74</Words>
  <Application>Microsoft Office PowerPoint</Application>
  <PresentationFormat>Custom</PresentationFormat>
  <Paragraphs>18</Paragraphs>
  <Slides>1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Montserrat</vt:lpstr>
      <vt:lpstr>Cabin</vt:lpstr>
      <vt:lpstr>Calibri</vt:lpstr>
      <vt:lpstr>Arial</vt:lpstr>
      <vt:lpstr>Montserrat SemiBold</vt:lpstr>
      <vt:lpstr>Montserrat Black</vt:lpstr>
      <vt:lpstr>Office Them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ICK of Landscaping flyer</dc:title>
  <dc:creator>Hoang Anh</dc:creator>
  <cp:lastModifiedBy>Hoang Anh</cp:lastModifiedBy>
  <cp:revision>7</cp:revision>
  <dcterms:created xsi:type="dcterms:W3CDTF">2006-08-16T00:00:00Z</dcterms:created>
  <dcterms:modified xsi:type="dcterms:W3CDTF">2023-12-01T10:00:22Z</dcterms:modified>
  <dc:identifier>DAF1uMsbtvc</dc:identifier>
</cp:coreProperties>
</file>